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14"/>
  </p:notesMasterIdLst>
  <p:handoutMasterIdLst>
    <p:handoutMasterId r:id="rId15"/>
  </p:handoutMasterIdLst>
  <p:sldIdLst>
    <p:sldId id="365" r:id="rId2"/>
    <p:sldId id="374" r:id="rId3"/>
    <p:sldId id="375" r:id="rId4"/>
    <p:sldId id="376" r:id="rId5"/>
    <p:sldId id="366" r:id="rId6"/>
    <p:sldId id="367" r:id="rId7"/>
    <p:sldId id="368" r:id="rId8"/>
    <p:sldId id="369" r:id="rId9"/>
    <p:sldId id="370" r:id="rId10"/>
    <p:sldId id="371" r:id="rId11"/>
    <p:sldId id="372" r:id="rId12"/>
    <p:sldId id="373" r:id="rId13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365"/>
            <p14:sldId id="374"/>
            <p14:sldId id="375"/>
            <p14:sldId id="376"/>
            <p14:sldId id="366"/>
            <p14:sldId id="367"/>
            <p14:sldId id="368"/>
            <p14:sldId id="369"/>
            <p14:sldId id="370"/>
            <p14:sldId id="371"/>
            <p14:sldId id="372"/>
            <p14:sldId id="373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77" d="100"/>
          <a:sy n="77" d="100"/>
        </p:scale>
        <p:origin x="-1440" y="-96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PlaceHolder 1"/>
          <p:cNvSpPr>
            <a:spLocks noGrp="1"/>
          </p:cNvSpPr>
          <p:nvPr>
            <p:ph type="body"/>
          </p:nvPr>
        </p:nvSpPr>
        <p:spPr>
          <a:xfrm>
            <a:off x="880455" y="4706023"/>
            <a:ext cx="4943282" cy="4425295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plz und erläutern des generierten Sourcecodes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Umgang mit @generated, @generated NOT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tarifzone und erläutern des generierten Sourcecodes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r Varianten bei derived Attributes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zahlweise mit Aufzählung der Zahlweisen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wohnflaeche mit Bereich 0..&lt;null&gt;</a:t>
            </a: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body"/>
          </p:nvPr>
        </p:nvSpPr>
        <p:spPr>
          <a:xfrm>
            <a:off x="880455" y="4706023"/>
            <a:ext cx="4943282" cy="4425295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der neuen Klasse HausratGrunddeck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der Composite-Bezieh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s Sourcecodes</a:t>
            </a: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FBAD584-8D21-4D2A-AC6E-3A1CF10E3230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82B7281-7C7C-4DFE-A3BD-29E713194CD1}" type="datetime1">
              <a:rPr lang="de-DE" smtClean="0"/>
              <a:t>14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087AA2E-1485-43FF-B889-F71A5AD0C141}" type="datetime1">
              <a:rPr lang="de-DE" smtClean="0"/>
              <a:t>14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696B26E-E14A-43B2-9884-A2EB920A15F3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8555F6D-E38F-473D-9BF7-97DE8712103B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55DA413-085F-418A-B766-622B9739B559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I.B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FE41EEC-1624-4AF7-989F-9C6AB8E2E025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151AF59-8618-44B9-84D8-B0911ABA69BC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082CFA9-6CA2-465C-98E8-95C32057BD8B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B87C2A5-214D-40B2-87BD-0FAEC400228C}" type="datetime1">
              <a:rPr lang="de-DE" smtClean="0"/>
              <a:t>14.04.2015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7572C45-1829-47B5-A148-1D8757BD1341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F8064E9-495B-4606-B706-96F1D7D84321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9669DADC-14DE-42A0-A7E8-73329AEC7678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24.xml"/><Relationship Id="rId9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16.xml"/><Relationship Id="rId9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://faktorzehn.org/fips:jmergegenerator" TargetMode="Externa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faktorzehn.org/fips:jmergegenerator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4319972" y="6678000"/>
            <a:ext cx="504056" cy="180000"/>
          </a:xfrm>
        </p:spPr>
        <p:txBody>
          <a:bodyPr/>
          <a:lstStyle/>
          <a:p>
            <a:r>
              <a:rPr lang="de-DE" dirty="0" smtClean="0">
                <a:solidFill>
                  <a:srgbClr val="FFFFFF"/>
                </a:solidFill>
              </a:rPr>
              <a:t>III.B-</a:t>
            </a:r>
            <a:fld id="{21FBF85A-D7A6-488B-8C2B-F7E0D6843921}" type="slidenum">
              <a:rPr lang="de-DE" smtClean="0">
                <a:solidFill>
                  <a:srgbClr val="FFFFFF"/>
                </a:solidFill>
              </a:rPr>
              <a:pPr/>
              <a:t>1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D09A36B-E63D-4D0F-9F13-F0B1A1F849CE}" type="datetime1">
              <a:rPr lang="de-DE" smtClean="0"/>
              <a:t>14.04.2015</a:t>
            </a:fld>
            <a:endParaRPr lang="de-DE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588768"/>
              </p:ext>
            </p:extLst>
          </p:nvPr>
        </p:nvGraphicFramePr>
        <p:xfrm>
          <a:off x="235000" y="2350464"/>
          <a:ext cx="5996395" cy="1853280"/>
        </p:xfrm>
        <a:graphic>
          <a:graphicData uri="http://schemas.openxmlformats.org/drawingml/2006/table">
            <a:tbl>
              <a:tblPr/>
              <a:tblGrid>
                <a:gridCol w="5996395"/>
              </a:tblGrid>
              <a:tr h="1411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dirty="0" smtClean="0"/>
                        <a:t>III.B Modellierung der Vertrags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6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II.B.1 Attribu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57826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B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703930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EAD902E-3CB8-47F2-9E85-D973463EC305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III.B-</a:t>
            </a:r>
            <a:fld id="{21FBF85A-D7A6-488B-8C2B-F7E0D6843921}" type="slidenum">
              <a:rPr lang="de-DE" smtClean="0">
                <a:solidFill>
                  <a:srgbClr val="FFFFFF"/>
                </a:solidFill>
              </a:rPr>
              <a:pPr/>
              <a:t>10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ierung von Beziehungen</a:t>
            </a:r>
            <a:endParaRPr lang="pt-BR" dirty="0"/>
          </a:p>
        </p:txBody>
      </p:sp>
      <p:sp>
        <p:nvSpPr>
          <p:cNvPr id="1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50410" y="2008178"/>
            <a:ext cx="4040064" cy="189563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 smtClean="0"/>
              <a:t>plz</a:t>
            </a:r>
            <a:r>
              <a:rPr lang="en-US" sz="1200" dirty="0" smtClean="0"/>
              <a:t> </a:t>
            </a:r>
            <a:r>
              <a:rPr lang="en-US" sz="1200" dirty="0"/>
              <a:t>: String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smtClean="0"/>
              <a:t>/</a:t>
            </a:r>
            <a:r>
              <a:rPr lang="en-US" sz="1200" dirty="0" err="1" smtClean="0"/>
              <a:t>tarifzone</a:t>
            </a:r>
            <a:r>
              <a:rPr lang="en-US" sz="1200" dirty="0" smtClean="0"/>
              <a:t> : String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/>
              <a:t>z</a:t>
            </a:r>
            <a:r>
              <a:rPr lang="en-US" sz="1200" dirty="0" err="1" smtClean="0"/>
              <a:t>ahlweise</a:t>
            </a:r>
            <a:r>
              <a:rPr lang="en-US" sz="1200" dirty="0" smtClean="0"/>
              <a:t> : Integer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/>
              <a:t>w</a:t>
            </a:r>
            <a:r>
              <a:rPr lang="en-US" sz="1200" dirty="0" err="1" smtClean="0"/>
              <a:t>ohnflaeche</a:t>
            </a:r>
            <a:r>
              <a:rPr lang="en-US" sz="1200" dirty="0" smtClean="0"/>
              <a:t> : Integer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smtClean="0"/>
              <a:t>/</a:t>
            </a:r>
            <a:r>
              <a:rPr lang="en-US" sz="1200" dirty="0" err="1" smtClean="0"/>
              <a:t>vorschlagVersSumme</a:t>
            </a:r>
            <a:r>
              <a:rPr lang="en-US" sz="1200" dirty="0" smtClean="0"/>
              <a:t> : Money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 smtClean="0"/>
              <a:t>versSumme</a:t>
            </a:r>
            <a:r>
              <a:rPr lang="en-US" sz="1200" dirty="0" smtClean="0"/>
              <a:t> : Money</a:t>
            </a:r>
            <a:endParaRPr lang="en-US" sz="1200" dirty="0"/>
          </a:p>
        </p:txBody>
      </p:sp>
      <p:sp>
        <p:nvSpPr>
          <p:cNvPr id="17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47211" y="1638296"/>
            <a:ext cx="4043263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bg1"/>
                </a:solidFill>
              </a:rPr>
              <a:t>HausratVertrag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18" name="Raute 17"/>
          <p:cNvSpPr/>
          <p:nvPr>
            <p:custDataLst>
              <p:tags r:id="rId3"/>
            </p:custDataLst>
          </p:nvPr>
        </p:nvSpPr>
        <p:spPr bwMode="gray">
          <a:xfrm>
            <a:off x="3227411" y="3933825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Raute 18"/>
          <p:cNvSpPr/>
          <p:nvPr>
            <p:custDataLst>
              <p:tags r:id="rId4"/>
            </p:custDataLst>
          </p:nvPr>
        </p:nvSpPr>
        <p:spPr bwMode="gray">
          <a:xfrm>
            <a:off x="5532541" y="3933825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20" name="Gerade Verbindung 19"/>
          <p:cNvCxnSpPr/>
          <p:nvPr/>
        </p:nvCxnSpPr>
        <p:spPr bwMode="auto">
          <a:xfrm flipH="1">
            <a:off x="3357126" y="4343834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0"/>
          <p:cNvCxnSpPr/>
          <p:nvPr/>
        </p:nvCxnSpPr>
        <p:spPr bwMode="auto">
          <a:xfrm flipH="1">
            <a:off x="5662256" y="4343834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36256" y="5743099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200" dirty="0" smtClean="0"/>
              <a:t>/</a:t>
            </a:r>
            <a:r>
              <a:rPr lang="en-US" sz="1200" dirty="0" err="1" smtClean="0"/>
              <a:t>versSumme</a:t>
            </a:r>
            <a:r>
              <a:rPr lang="en-US" sz="1200" dirty="0" smtClean="0"/>
              <a:t> - Money</a:t>
            </a:r>
            <a:endParaRPr lang="en-US" sz="1200" dirty="0"/>
          </a:p>
        </p:txBody>
      </p:sp>
      <p:sp>
        <p:nvSpPr>
          <p:cNvPr id="23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636256" y="5373216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bg1"/>
                </a:solidFill>
              </a:rPr>
              <a:t>HausratZusatzdeckung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24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331126" y="5373216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bg1"/>
                </a:solidFill>
              </a:rPr>
              <a:t>HausratGrunddeckung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3375993" y="4981739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1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5680385" y="4915911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/>
              <a:t>*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27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31126" y="5743099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200" dirty="0"/>
          </a:p>
        </p:txBody>
      </p:sp>
      <p:sp>
        <p:nvSpPr>
          <p:cNvPr id="15" name="Rectangle 2"/>
          <p:cNvSpPr/>
          <p:nvPr/>
        </p:nvSpPr>
        <p:spPr>
          <a:xfrm>
            <a:off x="3082696" y="3848240"/>
            <a:ext cx="586594" cy="1503594"/>
          </a:xfrm>
          <a:prstGeom prst="rect">
            <a:avLst/>
          </a:prstGeom>
          <a:ln w="36000">
            <a:solidFill>
              <a:srgbClr val="FF0000"/>
            </a:solidFill>
            <a:round/>
          </a:ln>
        </p:spPr>
      </p:sp>
      <p:sp>
        <p:nvSpPr>
          <p:cNvPr id="28" name="Ellipse 27"/>
          <p:cNvSpPr>
            <a:spLocks noChangeAspect="1"/>
          </p:cNvSpPr>
          <p:nvPr/>
        </p:nvSpPr>
        <p:spPr bwMode="auto">
          <a:xfrm>
            <a:off x="2591804" y="171523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29" name="Ellipse 28"/>
          <p:cNvSpPr>
            <a:spLocks noChangeAspect="1"/>
          </p:cNvSpPr>
          <p:nvPr/>
        </p:nvSpPr>
        <p:spPr bwMode="auto">
          <a:xfrm>
            <a:off x="4662760" y="545015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30" name="Ellipse 29"/>
          <p:cNvSpPr>
            <a:spLocks noChangeAspect="1"/>
          </p:cNvSpPr>
          <p:nvPr/>
        </p:nvSpPr>
        <p:spPr bwMode="auto">
          <a:xfrm>
            <a:off x="2362875" y="545015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</p:spTree>
    <p:extLst>
      <p:ext uri="{BB962C8B-B14F-4D97-AF65-F5344CB8AC3E}">
        <p14:creationId xmlns:p14="http://schemas.microsoft.com/office/powerpoint/2010/main" val="115550994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Shape 2"/>
          <p:cNvSpPr txBox="1"/>
          <p:nvPr/>
        </p:nvSpPr>
        <p:spPr>
          <a:xfrm>
            <a:off x="934038" y="1714574"/>
            <a:ext cx="7281239" cy="4244958"/>
          </a:xfrm>
          <a:prstGeom prst="rect">
            <a:avLst/>
          </a:prstGeom>
        </p:spPr>
        <p:txBody>
          <a:bodyPr wrap="none" lIns="0" tIns="0" rIns="0" bIns="0"/>
          <a:lstStyle/>
          <a:p>
            <a:endParaRPr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</a:t>
            </a:r>
            <a:endParaRPr lang="pt-BR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r>
              <a:rPr lang="de-DE" dirty="0" smtClean="0"/>
              <a:t>Anlegen der Klasse </a:t>
            </a:r>
            <a:r>
              <a:rPr lang="de-DE" dirty="0" err="1" smtClean="0"/>
              <a:t>HausratGrunddeckung</a:t>
            </a:r>
            <a:endParaRPr lang="de-DE" dirty="0" smtClean="0"/>
          </a:p>
          <a:p>
            <a:r>
              <a:rPr lang="de-DE" dirty="0" smtClean="0"/>
              <a:t>Anlegen der Beziehung zwischen </a:t>
            </a:r>
            <a:r>
              <a:rPr lang="de-DE" dirty="0" err="1" smtClean="0"/>
              <a:t>HausratVertrag</a:t>
            </a:r>
            <a:r>
              <a:rPr lang="de-DE" dirty="0" smtClean="0"/>
              <a:t> und </a:t>
            </a:r>
            <a:r>
              <a:rPr lang="de-DE" dirty="0" err="1" smtClean="0"/>
              <a:t>HausratGrunddeckung</a:t>
            </a:r>
            <a:r>
              <a:rPr lang="de-DE" dirty="0" smtClean="0"/>
              <a:t>.</a:t>
            </a:r>
          </a:p>
          <a:p>
            <a:r>
              <a:rPr lang="de-DE" dirty="0" smtClean="0"/>
              <a:t>Analyse des generierten </a:t>
            </a:r>
            <a:r>
              <a:rPr lang="de-DE" dirty="0" err="1" smtClean="0"/>
              <a:t>Sourcecodes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D456790-1E44-4D2D-8838-5D0338CDA763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B-</a:t>
            </a:r>
            <a:fld id="{21FBF85A-D7A6-488B-8C2B-F7E0D6843921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9682795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B.2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A62062E-B5C1-48C8-92D5-BE92A6147193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B-</a:t>
            </a:r>
            <a:fld id="{21FBF85A-D7A6-488B-8C2B-F7E0D6843921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790909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ulungsbeispiel: </a:t>
            </a:r>
            <a:r>
              <a:rPr lang="de-DE" dirty="0" smtClean="0"/>
              <a:t>Hausratmodell (ohne Produktinformationen)</a:t>
            </a:r>
            <a:endParaRPr lang="pt-BR" dirty="0"/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50410" y="2008178"/>
            <a:ext cx="4040064" cy="189563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 smtClean="0">
                <a:solidFill>
                  <a:srgbClr val="005596"/>
                </a:solidFill>
              </a:rPr>
              <a:t>plz</a:t>
            </a:r>
            <a:r>
              <a:rPr lang="en-US" sz="1200" dirty="0" smtClean="0">
                <a:solidFill>
                  <a:srgbClr val="005596"/>
                </a:solidFill>
              </a:rPr>
              <a:t> </a:t>
            </a:r>
            <a:r>
              <a:rPr lang="en-US" sz="1200" dirty="0">
                <a:solidFill>
                  <a:srgbClr val="005596"/>
                </a:solidFill>
              </a:rPr>
              <a:t>: String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smtClean="0">
                <a:solidFill>
                  <a:srgbClr val="005596"/>
                </a:solidFill>
              </a:rPr>
              <a:t>/</a:t>
            </a:r>
            <a:r>
              <a:rPr lang="en-US" sz="1200" dirty="0" err="1" smtClean="0">
                <a:solidFill>
                  <a:srgbClr val="005596"/>
                </a:solidFill>
              </a:rPr>
              <a:t>tarifzone</a:t>
            </a:r>
            <a:r>
              <a:rPr lang="en-US" sz="1200" dirty="0" smtClean="0">
                <a:solidFill>
                  <a:srgbClr val="005596"/>
                </a:solidFill>
              </a:rPr>
              <a:t> : String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>
                <a:solidFill>
                  <a:srgbClr val="005596"/>
                </a:solidFill>
              </a:rPr>
              <a:t>z</a:t>
            </a:r>
            <a:r>
              <a:rPr lang="en-US" sz="1200" dirty="0" err="1" smtClean="0">
                <a:solidFill>
                  <a:srgbClr val="005596"/>
                </a:solidFill>
              </a:rPr>
              <a:t>ahlweise</a:t>
            </a:r>
            <a:r>
              <a:rPr lang="en-US" sz="1200" dirty="0" smtClean="0">
                <a:solidFill>
                  <a:srgbClr val="005596"/>
                </a:solidFill>
              </a:rPr>
              <a:t> : Integer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>
                <a:solidFill>
                  <a:srgbClr val="005596"/>
                </a:solidFill>
              </a:rPr>
              <a:t>w</a:t>
            </a:r>
            <a:r>
              <a:rPr lang="en-US" sz="1200" dirty="0" err="1" smtClean="0">
                <a:solidFill>
                  <a:srgbClr val="005596"/>
                </a:solidFill>
              </a:rPr>
              <a:t>ohnflaeche</a:t>
            </a:r>
            <a:r>
              <a:rPr lang="en-US" sz="1200" dirty="0" smtClean="0">
                <a:solidFill>
                  <a:srgbClr val="005596"/>
                </a:solidFill>
              </a:rPr>
              <a:t> : Integer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smtClean="0">
                <a:solidFill>
                  <a:srgbClr val="005596"/>
                </a:solidFill>
              </a:rPr>
              <a:t>/</a:t>
            </a:r>
            <a:r>
              <a:rPr lang="en-US" sz="1200" dirty="0" err="1" smtClean="0">
                <a:solidFill>
                  <a:srgbClr val="005596"/>
                </a:solidFill>
              </a:rPr>
              <a:t>vorschlagVersSumme</a:t>
            </a:r>
            <a:r>
              <a:rPr lang="en-US" sz="1200" dirty="0" smtClean="0">
                <a:solidFill>
                  <a:srgbClr val="005596"/>
                </a:solidFill>
              </a:rPr>
              <a:t> : Money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 smtClean="0">
                <a:solidFill>
                  <a:srgbClr val="005596"/>
                </a:solidFill>
              </a:rPr>
              <a:t>versSumme</a:t>
            </a:r>
            <a:r>
              <a:rPr lang="en-US" sz="1200" dirty="0" smtClean="0">
                <a:solidFill>
                  <a:srgbClr val="005596"/>
                </a:solidFill>
              </a:rPr>
              <a:t> : Money</a:t>
            </a:r>
            <a:endParaRPr lang="en-US" sz="1200" dirty="0">
              <a:solidFill>
                <a:srgbClr val="005596"/>
              </a:solidFill>
            </a:endParaRPr>
          </a:p>
        </p:txBody>
      </p:sp>
      <p:sp>
        <p:nvSpPr>
          <p:cNvPr id="6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47211" y="1638296"/>
            <a:ext cx="4043263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rgbClr val="FFFFFF"/>
                </a:solidFill>
              </a:rPr>
              <a:t>HausratVertrag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7" name="Raute 6"/>
          <p:cNvSpPr/>
          <p:nvPr>
            <p:custDataLst>
              <p:tags r:id="rId3"/>
            </p:custDataLst>
          </p:nvPr>
        </p:nvSpPr>
        <p:spPr bwMode="gray">
          <a:xfrm>
            <a:off x="3227411" y="3933825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8" name="Raute 7"/>
          <p:cNvSpPr/>
          <p:nvPr>
            <p:custDataLst>
              <p:tags r:id="rId4"/>
            </p:custDataLst>
          </p:nvPr>
        </p:nvSpPr>
        <p:spPr bwMode="gray">
          <a:xfrm>
            <a:off x="5532541" y="3933825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auto">
          <a:xfrm flipH="1">
            <a:off x="3357126" y="4343834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Gerade Verbindung 10"/>
          <p:cNvCxnSpPr/>
          <p:nvPr/>
        </p:nvCxnSpPr>
        <p:spPr bwMode="auto">
          <a:xfrm flipH="1">
            <a:off x="5662256" y="4343834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36256" y="5743099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200" dirty="0" smtClean="0">
                <a:solidFill>
                  <a:srgbClr val="005596"/>
                </a:solidFill>
              </a:rPr>
              <a:t>/</a:t>
            </a:r>
            <a:r>
              <a:rPr lang="en-US" sz="1200" dirty="0" err="1" smtClean="0">
                <a:solidFill>
                  <a:srgbClr val="005596"/>
                </a:solidFill>
              </a:rPr>
              <a:t>versSumme</a:t>
            </a:r>
            <a:r>
              <a:rPr lang="en-US" sz="1200" dirty="0" smtClean="0">
                <a:solidFill>
                  <a:srgbClr val="005596"/>
                </a:solidFill>
              </a:rPr>
              <a:t> - Money</a:t>
            </a:r>
            <a:endParaRPr lang="en-US" sz="1200" dirty="0">
              <a:solidFill>
                <a:srgbClr val="005596"/>
              </a:solidFill>
            </a:endParaRPr>
          </a:p>
        </p:txBody>
      </p:sp>
      <p:sp>
        <p:nvSpPr>
          <p:cNvPr id="14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636256" y="5373216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rgbClr val="FFFFFF"/>
                </a:solidFill>
              </a:rPr>
              <a:t> </a:t>
            </a:r>
            <a:r>
              <a:rPr lang="en-US" sz="1200" dirty="0" err="1" smtClean="0">
                <a:solidFill>
                  <a:srgbClr val="FFFFFF"/>
                </a:solidFill>
              </a:rPr>
              <a:t>HausratZusatzdeckung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15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331126" y="5373216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rgbClr val="FFFFFF"/>
                </a:solidFill>
              </a:rPr>
              <a:t>HausratGrunddeckung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3375993" y="4981739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1</a:t>
            </a:r>
            <a:endParaRPr lang="pt-BR" sz="1600" dirty="0" err="1" smtClean="0">
              <a:solidFill>
                <a:srgbClr val="005596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680385" y="4915911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>
                <a:solidFill>
                  <a:srgbClr val="005596"/>
                </a:solidFill>
              </a:rPr>
              <a:t>*</a:t>
            </a:r>
            <a:endParaRPr lang="pt-BR" sz="1600" dirty="0" err="1" smtClean="0">
              <a:solidFill>
                <a:srgbClr val="005596"/>
              </a:solidFill>
            </a:endParaRPr>
          </a:p>
        </p:txBody>
      </p:sp>
      <p:sp>
        <p:nvSpPr>
          <p:cNvPr id="16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31126" y="5743099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200" dirty="0">
              <a:solidFill>
                <a:srgbClr val="005596"/>
              </a:solidFill>
            </a:endParaRPr>
          </a:p>
        </p:txBody>
      </p:sp>
      <p:sp>
        <p:nvSpPr>
          <p:cNvPr id="19" name="Ellipse 18"/>
          <p:cNvSpPr>
            <a:spLocks noChangeAspect="1"/>
          </p:cNvSpPr>
          <p:nvPr/>
        </p:nvSpPr>
        <p:spPr bwMode="auto">
          <a:xfrm>
            <a:off x="2627784" y="171523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0" name="Ellipse 19"/>
          <p:cNvSpPr>
            <a:spLocks noChangeAspect="1"/>
          </p:cNvSpPr>
          <p:nvPr/>
        </p:nvSpPr>
        <p:spPr bwMode="auto">
          <a:xfrm>
            <a:off x="2375780" y="545015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1" name="Ellipse 20"/>
          <p:cNvSpPr>
            <a:spLocks noChangeAspect="1"/>
          </p:cNvSpPr>
          <p:nvPr/>
        </p:nvSpPr>
        <p:spPr bwMode="auto">
          <a:xfrm>
            <a:off x="4680036" y="545015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AA0709E-E381-412E-BAB1-F905379F450E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B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4719454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FBAD584-8D21-4D2A-AC6E-3A1CF10E3230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: Erste </a:t>
            </a:r>
            <a:r>
              <a:rPr lang="de-DE" dirty="0"/>
              <a:t>Klasse </a:t>
            </a:r>
            <a:r>
              <a:rPr lang="de-DE" dirty="0" smtClean="0"/>
              <a:t>anlegen</a:t>
            </a:r>
            <a:endParaRPr lang="pt-BR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lvl="1">
              <a:buSzPct val="75000"/>
            </a:pPr>
            <a:endParaRPr lang="de-DE" dirty="0"/>
          </a:p>
          <a:p>
            <a:pPr lvl="1">
              <a:buSzPct val="75000"/>
            </a:pPr>
            <a:r>
              <a:rPr lang="de-DE" dirty="0"/>
              <a:t>IPS-Package „</a:t>
            </a:r>
            <a:r>
              <a:rPr lang="de-DE" dirty="0" err="1"/>
              <a:t>hausrat</a:t>
            </a:r>
            <a:r>
              <a:rPr lang="de-DE" dirty="0"/>
              <a:t>“ anlegen</a:t>
            </a:r>
          </a:p>
          <a:p>
            <a:pPr lvl="1">
              <a:buSzPct val="75000"/>
            </a:pPr>
            <a:endParaRPr lang="de-DE" dirty="0" smtClean="0"/>
          </a:p>
          <a:p>
            <a:pPr lvl="1">
              <a:buSzPct val="75000"/>
            </a:pPr>
            <a:r>
              <a:rPr lang="de-DE" dirty="0" smtClean="0"/>
              <a:t>Vertragsteil-Typ </a:t>
            </a:r>
            <a:r>
              <a:rPr lang="de-DE" dirty="0"/>
              <a:t>„</a:t>
            </a:r>
            <a:r>
              <a:rPr lang="de-DE" dirty="0" err="1"/>
              <a:t>HausratVertrag</a:t>
            </a:r>
            <a:r>
              <a:rPr lang="de-DE" dirty="0"/>
              <a:t>“ </a:t>
            </a:r>
            <a:r>
              <a:rPr lang="de-DE" dirty="0" smtClean="0"/>
              <a:t>anlegen</a:t>
            </a:r>
          </a:p>
          <a:p>
            <a:pPr marL="0" lvl="1" indent="0">
              <a:buSzPct val="75000"/>
              <a:buNone/>
            </a:pPr>
            <a:endParaRPr lang="de-DE" dirty="0"/>
          </a:p>
          <a:p>
            <a:pPr lvl="1">
              <a:buSzPct val="75000"/>
            </a:pPr>
            <a:r>
              <a:rPr lang="de-DE" dirty="0"/>
              <a:t>Generierten </a:t>
            </a:r>
            <a:r>
              <a:rPr lang="de-DE" dirty="0" err="1"/>
              <a:t>Sourcecode</a:t>
            </a:r>
            <a:r>
              <a:rPr lang="de-DE" dirty="0"/>
              <a:t> </a:t>
            </a:r>
            <a:r>
              <a:rPr lang="de-DE" dirty="0" smtClean="0"/>
              <a:t>erläutern</a:t>
            </a:r>
          </a:p>
          <a:p>
            <a:pPr lvl="1">
              <a:buSzPct val="75000"/>
            </a:pPr>
            <a:endParaRPr lang="de-DE" dirty="0"/>
          </a:p>
          <a:p>
            <a:pPr lvl="1">
              <a:buSzPct val="75000"/>
            </a:pPr>
            <a:r>
              <a:rPr lang="de-DE" dirty="0"/>
              <a:t>Faktor-IPS Modellexplorer erläutern</a:t>
            </a:r>
          </a:p>
          <a:p>
            <a:endParaRPr lang="pt-BR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B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6472402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Shape 2"/>
          <p:cNvSpPr txBox="1"/>
          <p:nvPr/>
        </p:nvSpPr>
        <p:spPr>
          <a:xfrm>
            <a:off x="934038" y="1714574"/>
            <a:ext cx="7281239" cy="4244958"/>
          </a:xfrm>
          <a:prstGeom prst="rect">
            <a:avLst/>
          </a:prstGeom>
        </p:spPr>
        <p:txBody>
          <a:bodyPr wrap="none" lIns="0" tIns="0" rIns="0" bIns="0"/>
          <a:lstStyle/>
          <a:p>
            <a:endParaRPr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298286E-66C5-4BB5-B4E9-FCB597AF30C7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III.B-</a:t>
            </a:r>
            <a:fld id="{21FBF85A-D7A6-488B-8C2B-F7E0D6843921}" type="slidenum">
              <a:rPr lang="de-DE" smtClean="0">
                <a:solidFill>
                  <a:srgbClr val="FFFFFF"/>
                </a:solidFill>
              </a:rPr>
              <a:pPr/>
              <a:t>4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B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89514862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2"/>
          <p:cNvSpPr/>
          <p:nvPr/>
        </p:nvSpPr>
        <p:spPr>
          <a:xfrm>
            <a:off x="1744532" y="1520788"/>
            <a:ext cx="5256584" cy="2454266"/>
          </a:xfrm>
          <a:prstGeom prst="rect">
            <a:avLst/>
          </a:prstGeom>
          <a:ln w="36000">
            <a:solidFill>
              <a:srgbClr val="FF0000"/>
            </a:solidFill>
            <a:round/>
          </a:ln>
        </p:spPr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BBAF7B-733A-4F37-9FDF-DC6D83DD6053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FFFFFF"/>
                </a:solidFill>
              </a:rPr>
              <a:t>III.B-</a:t>
            </a:r>
            <a:fld id="{21FBF85A-D7A6-488B-8C2B-F7E0D6843921}" type="slidenum">
              <a:rPr lang="de-DE" smtClean="0">
                <a:solidFill>
                  <a:srgbClr val="FFFFFF"/>
                </a:solidFill>
              </a:rPr>
              <a:pPr/>
              <a:t>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ierung von </a:t>
            </a:r>
            <a:r>
              <a:rPr lang="de-DE" dirty="0" smtClean="0"/>
              <a:t>Attributen</a:t>
            </a:r>
            <a:endParaRPr lang="pt-BR" dirty="0"/>
          </a:p>
        </p:txBody>
      </p:sp>
      <p:sp>
        <p:nvSpPr>
          <p:cNvPr id="13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50410" y="2008178"/>
            <a:ext cx="4040064" cy="189563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 smtClean="0"/>
              <a:t>plz</a:t>
            </a:r>
            <a:r>
              <a:rPr lang="en-US" sz="1200" dirty="0" smtClean="0"/>
              <a:t> </a:t>
            </a:r>
            <a:r>
              <a:rPr lang="en-US" sz="1200" dirty="0"/>
              <a:t>: String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smtClean="0"/>
              <a:t>/</a:t>
            </a:r>
            <a:r>
              <a:rPr lang="en-US" sz="1200" dirty="0" err="1" smtClean="0"/>
              <a:t>tarifzone</a:t>
            </a:r>
            <a:r>
              <a:rPr lang="en-US" sz="1200" dirty="0" smtClean="0"/>
              <a:t> : String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/>
              <a:t>z</a:t>
            </a:r>
            <a:r>
              <a:rPr lang="en-US" sz="1200" dirty="0" err="1" smtClean="0"/>
              <a:t>ahlweise</a:t>
            </a:r>
            <a:r>
              <a:rPr lang="en-US" sz="1200" dirty="0" smtClean="0"/>
              <a:t> : Integer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/>
              <a:t>w</a:t>
            </a:r>
            <a:r>
              <a:rPr lang="en-US" sz="1200" dirty="0" err="1" smtClean="0"/>
              <a:t>ohnflaeche</a:t>
            </a:r>
            <a:r>
              <a:rPr lang="en-US" sz="1200" dirty="0" smtClean="0"/>
              <a:t> : Integer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smtClean="0"/>
              <a:t>/</a:t>
            </a:r>
            <a:r>
              <a:rPr lang="en-US" sz="1200" dirty="0" err="1" smtClean="0"/>
              <a:t>vorschlagVersSumme</a:t>
            </a:r>
            <a:r>
              <a:rPr lang="en-US" sz="1200" dirty="0" smtClean="0"/>
              <a:t> : Money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 smtClean="0"/>
              <a:t>versSumme</a:t>
            </a:r>
            <a:r>
              <a:rPr lang="en-US" sz="1200" dirty="0" smtClean="0"/>
              <a:t> : Money</a:t>
            </a:r>
            <a:endParaRPr lang="en-US" sz="1200" dirty="0"/>
          </a:p>
        </p:txBody>
      </p:sp>
      <p:sp>
        <p:nvSpPr>
          <p:cNvPr id="14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47211" y="1638296"/>
            <a:ext cx="4043263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bg1"/>
                </a:solidFill>
              </a:rPr>
              <a:t>HausratVertrag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15" name="Raute 14"/>
          <p:cNvSpPr/>
          <p:nvPr>
            <p:custDataLst>
              <p:tags r:id="rId3"/>
            </p:custDataLst>
          </p:nvPr>
        </p:nvSpPr>
        <p:spPr bwMode="gray">
          <a:xfrm>
            <a:off x="3227411" y="3933825"/>
            <a:ext cx="259431" cy="410009"/>
          </a:xfrm>
          <a:prstGeom prst="diamond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Raute 15"/>
          <p:cNvSpPr/>
          <p:nvPr>
            <p:custDataLst>
              <p:tags r:id="rId4"/>
            </p:custDataLst>
          </p:nvPr>
        </p:nvSpPr>
        <p:spPr bwMode="gray">
          <a:xfrm>
            <a:off x="5532541" y="3933825"/>
            <a:ext cx="259431" cy="410009"/>
          </a:xfrm>
          <a:prstGeom prst="diamond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7" name="Gerade Verbindung 16"/>
          <p:cNvCxnSpPr/>
          <p:nvPr/>
        </p:nvCxnSpPr>
        <p:spPr bwMode="auto">
          <a:xfrm flipH="1">
            <a:off x="3357126" y="4343834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Gerade Verbindung 17"/>
          <p:cNvCxnSpPr/>
          <p:nvPr/>
        </p:nvCxnSpPr>
        <p:spPr bwMode="auto">
          <a:xfrm flipH="1">
            <a:off x="5662256" y="4343834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36256" y="5743099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200" dirty="0" smtClean="0"/>
              <a:t>/</a:t>
            </a:r>
            <a:r>
              <a:rPr lang="en-US" sz="1200" dirty="0" err="1" smtClean="0"/>
              <a:t>versSumme</a:t>
            </a:r>
            <a:r>
              <a:rPr lang="en-US" sz="1200" dirty="0" smtClean="0"/>
              <a:t> - Money</a:t>
            </a:r>
            <a:endParaRPr lang="en-US" sz="1200" dirty="0"/>
          </a:p>
        </p:txBody>
      </p:sp>
      <p:sp>
        <p:nvSpPr>
          <p:cNvPr id="20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636256" y="5373216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bg1"/>
                </a:solidFill>
              </a:rPr>
              <a:t>  </a:t>
            </a:r>
            <a:r>
              <a:rPr lang="en-US" sz="1200" dirty="0" err="1" smtClean="0">
                <a:solidFill>
                  <a:schemeClr val="bg1"/>
                </a:solidFill>
              </a:rPr>
              <a:t>HausratZusatzdeckung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21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331126" y="5373216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HausratGrunddeckung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3375993" y="4981739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1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5680385" y="4915911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/>
              <a:t>*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24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31126" y="5743099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200" dirty="0"/>
          </a:p>
        </p:txBody>
      </p:sp>
      <p:sp>
        <p:nvSpPr>
          <p:cNvPr id="25" name="Ellipse 24"/>
          <p:cNvSpPr>
            <a:spLocks noChangeAspect="1"/>
          </p:cNvSpPr>
          <p:nvPr/>
        </p:nvSpPr>
        <p:spPr bwMode="auto">
          <a:xfrm>
            <a:off x="2375780" y="544797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26" name="Ellipse 25"/>
          <p:cNvSpPr>
            <a:spLocks noChangeAspect="1"/>
          </p:cNvSpPr>
          <p:nvPr/>
        </p:nvSpPr>
        <p:spPr bwMode="auto">
          <a:xfrm>
            <a:off x="4680036" y="545015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27" name="Ellipse 26"/>
          <p:cNvSpPr>
            <a:spLocks noChangeAspect="1"/>
          </p:cNvSpPr>
          <p:nvPr/>
        </p:nvSpPr>
        <p:spPr bwMode="auto">
          <a:xfrm>
            <a:off x="2591804" y="171523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</p:spTree>
    <p:extLst>
      <p:ext uri="{BB962C8B-B14F-4D97-AF65-F5344CB8AC3E}">
        <p14:creationId xmlns:p14="http://schemas.microsoft.com/office/powerpoint/2010/main" val="64031694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Shape 2"/>
          <p:cNvSpPr txBox="1"/>
          <p:nvPr/>
        </p:nvSpPr>
        <p:spPr>
          <a:xfrm>
            <a:off x="934038" y="1714574"/>
            <a:ext cx="7281239" cy="4244958"/>
          </a:xfrm>
          <a:prstGeom prst="rect">
            <a:avLst/>
          </a:prstGeom>
        </p:spPr>
        <p:txBody>
          <a:bodyPr wrap="none" lIns="0" tIns="0" rIns="0" bIns="0"/>
          <a:lstStyle/>
          <a:p>
            <a:endParaRPr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0BF0E83-217B-49E4-A815-0CA479129D2B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B-</a:t>
            </a:r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</a:t>
            </a:r>
            <a:endParaRPr lang="pt-BR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r>
              <a:rPr lang="de-DE" dirty="0" smtClean="0"/>
              <a:t>Folgende Attribute anlegen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err="1" smtClean="0"/>
              <a:t>Plz</a:t>
            </a: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Zahlweis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Tarifzon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r>
              <a:rPr lang="de-DE" dirty="0" smtClean="0"/>
              <a:t>Umgang mit generiertem Code demonstrieren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3802423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Umgang mit generiertem Code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7811544" cy="5003800"/>
          </a:xfrm>
        </p:spPr>
        <p:txBody>
          <a:bodyPr/>
          <a:lstStyle/>
          <a:p>
            <a:r>
              <a:rPr lang="de-DE" dirty="0" smtClean="0"/>
              <a:t>Der von Faktor-IPS generierte </a:t>
            </a:r>
            <a:r>
              <a:rPr lang="de-DE" dirty="0" err="1"/>
              <a:t>Javacode</a:t>
            </a:r>
            <a:r>
              <a:rPr lang="de-DE" dirty="0"/>
              <a:t> </a:t>
            </a:r>
            <a:r>
              <a:rPr lang="de-DE" dirty="0" smtClean="0"/>
              <a:t>kann vom Entwickler geändert werden.</a:t>
            </a:r>
          </a:p>
          <a:p>
            <a:r>
              <a:rPr lang="de-DE" dirty="0" smtClean="0"/>
              <a:t>Damit </a:t>
            </a:r>
            <a:r>
              <a:rPr lang="de-DE" dirty="0"/>
              <a:t>der </a:t>
            </a:r>
            <a:r>
              <a:rPr lang="de-DE" dirty="0" smtClean="0"/>
              <a:t>Code-Generator vom Entwickler angepasstem </a:t>
            </a:r>
            <a:r>
              <a:rPr lang="de-DE" dirty="0"/>
              <a:t>Code nicht </a:t>
            </a:r>
            <a:r>
              <a:rPr lang="de-DE" dirty="0" smtClean="0"/>
              <a:t>überschreibt </a:t>
            </a:r>
            <a:r>
              <a:rPr lang="de-DE" dirty="0"/>
              <a:t>sind verschiedene Einstellungen möglich. Diese werden über sogenannte „Java Doc Custom Tags“ gesteuert. </a:t>
            </a:r>
          </a:p>
          <a:p>
            <a:endParaRPr lang="de-DE" dirty="0"/>
          </a:p>
          <a:p>
            <a:endParaRPr lang="de-DE" dirty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1073343"/>
              </p:ext>
            </p:extLst>
          </p:nvPr>
        </p:nvGraphicFramePr>
        <p:xfrm>
          <a:off x="430866" y="2955332"/>
          <a:ext cx="7883916" cy="2291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978"/>
                <a:gridCol w="5146938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Schlüsselwörter 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Erläuterung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@</a:t>
                      </a:r>
                      <a:r>
                        <a:rPr lang="de-DE" dirty="0" err="1" smtClean="0"/>
                        <a:t>generate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er folgende Code wird vom Generator überschrieben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@</a:t>
                      </a:r>
                      <a:r>
                        <a:rPr lang="de-DE" dirty="0" err="1" smtClean="0"/>
                        <a:t>generated</a:t>
                      </a:r>
                      <a:r>
                        <a:rPr lang="de-DE" baseline="0" dirty="0" smtClean="0"/>
                        <a:t> NO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er folgende Code wird </a:t>
                      </a:r>
                      <a:r>
                        <a:rPr lang="de-DE" b="1" dirty="0" smtClean="0"/>
                        <a:t>nicht</a:t>
                      </a:r>
                      <a:r>
                        <a:rPr lang="de-DE" dirty="0" smtClean="0"/>
                        <a:t> vom Generator überschrieben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>
                          <a:hlinkClick r:id="rId2" tooltip="fips:jmergegenerator ↵"/>
                        </a:rPr>
                        <a:t>@</a:t>
                      </a:r>
                      <a:r>
                        <a:rPr lang="de-DE" dirty="0" err="1" smtClean="0">
                          <a:hlinkClick r:id="rId2" tooltip="fips:jmergegenerator ↵"/>
                        </a:rPr>
                        <a:t>restrainedmodifiable</a:t>
                      </a:r>
                      <a:r>
                        <a:rPr lang="de-DE" dirty="0" smtClean="0"/>
                        <a:t> 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Teile</a:t>
                      </a:r>
                      <a:r>
                        <a:rPr lang="de-DE" baseline="0" smtClean="0"/>
                        <a:t> des Codes einer Methode können vom Entwickler angepasst werden.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E32EE8B-BB23-4EC0-A473-D2DDB0431929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B-</a:t>
            </a:r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9374294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eitere Optionen </a:t>
            </a:r>
            <a:endParaRPr lang="de-DE" dirty="0"/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1465862"/>
              </p:ext>
            </p:extLst>
          </p:nvPr>
        </p:nvGraphicFramePr>
        <p:xfrm>
          <a:off x="252000" y="1232756"/>
          <a:ext cx="8639520" cy="521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1113"/>
                <a:gridCol w="5048407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Schlüsselwörter 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Erläuterung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hlinkClick r:id="rId2" tooltip="fips:jmergegenerator ↵"/>
                        </a:rPr>
                        <a:t>@</a:t>
                      </a:r>
                      <a:r>
                        <a:rPr lang="de-DE" dirty="0" err="1">
                          <a:hlinkClick r:id="rId2" tooltip="fips:jmergegenerator ↵"/>
                        </a:rPr>
                        <a:t>implements</a:t>
                      </a:r>
                      <a:r>
                        <a:rPr lang="de-DE" dirty="0">
                          <a:hlinkClick r:id="rId2" tooltip="fips:jmergegenerator ↵"/>
                        </a:rPr>
                        <a:t> &lt;Interface&gt;</a:t>
                      </a:r>
                      <a:r>
                        <a:rPr lang="de-DE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ässt die generierte Klasse zusätzlich das angegebene Interface implementieren</a:t>
                      </a:r>
                      <a:br>
                        <a:rPr lang="de-DE" dirty="0"/>
                      </a:br>
                      <a:r>
                        <a:rPr lang="de-DE" dirty="0"/>
                        <a:t>(für generierte Interfaces kann auch @</a:t>
                      </a:r>
                      <a:r>
                        <a:rPr lang="de-DE" dirty="0" err="1"/>
                        <a:t>extends</a:t>
                      </a:r>
                      <a:r>
                        <a:rPr lang="de-DE" dirty="0"/>
                        <a:t> verwendet werden)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hlinkClick r:id="rId2" tooltip="fips:jmergegenerator ↵"/>
                        </a:rPr>
                        <a:t>@</a:t>
                      </a:r>
                      <a:r>
                        <a:rPr lang="de-DE" dirty="0" err="1">
                          <a:hlinkClick r:id="rId2" tooltip="fips:jmergegenerator ↵"/>
                        </a:rPr>
                        <a:t>customizedAnnotations</a:t>
                      </a:r>
                      <a:r>
                        <a:rPr lang="de-DE" dirty="0">
                          <a:hlinkClick r:id="rId2" tooltip="fips:jmergegenerator ↵"/>
                        </a:rPr>
                        <a:t> [ALL]</a:t>
                      </a:r>
                      <a:r>
                        <a:rPr lang="de-DE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Die Annotationen werden nicht vom Generator überschrieben. Der Zusatz ‚ALL‘ kann weggelassen werden.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hlinkClick r:id="rId2" tooltip="fips:jmergegenerator ↵"/>
                        </a:rPr>
                        <a:t>@</a:t>
                      </a:r>
                      <a:r>
                        <a:rPr lang="de-DE" dirty="0" err="1">
                          <a:hlinkClick r:id="rId2" tooltip="fips:jmergegenerator ↵"/>
                        </a:rPr>
                        <a:t>customizedAnnotations</a:t>
                      </a:r>
                      <a:r>
                        <a:rPr lang="de-DE" dirty="0">
                          <a:hlinkClick r:id="rId2" tooltip="fips:jmergegenerator ↵"/>
                        </a:rPr>
                        <a:t> ADDED</a:t>
                      </a:r>
                      <a:r>
                        <a:rPr lang="de-DE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Der Entwickler hat Annotationen hinzugefügt. Der Generator darf daher keine Annotationen mehr löschen.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hlinkClick r:id="rId2" tooltip="fips:jmergegenerator ↵"/>
                        </a:rPr>
                        <a:t>@</a:t>
                      </a:r>
                      <a:r>
                        <a:rPr lang="de-DE" dirty="0" err="1">
                          <a:hlinkClick r:id="rId2" tooltip="fips:jmergegenerator ↵"/>
                        </a:rPr>
                        <a:t>customizedAnnotations</a:t>
                      </a:r>
                      <a:r>
                        <a:rPr lang="de-DE" dirty="0">
                          <a:hlinkClick r:id="rId2" tooltip="fips:jmergegenerator ↵"/>
                        </a:rPr>
                        <a:t> REMOVED</a:t>
                      </a:r>
                      <a:r>
                        <a:rPr lang="de-DE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Der Entwickler hat genrierte Annotationen entfernt. Der Generator darf daher keine neuen Annotationen hinzufügen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hlinkClick r:id="rId2" tooltip="fips:jmergegenerator ↵"/>
                        </a:rPr>
                        <a:t>@</a:t>
                      </a:r>
                      <a:r>
                        <a:rPr lang="de-DE" dirty="0" err="1">
                          <a:hlinkClick r:id="rId2" tooltip="fips:jmergegenerator ↵"/>
                        </a:rPr>
                        <a:t>customizedAnnotations</a:t>
                      </a:r>
                      <a:r>
                        <a:rPr lang="de-DE" dirty="0">
                          <a:hlinkClick r:id="rId2" tooltip="fips:jmergegenerator ↵"/>
                        </a:rPr>
                        <a:t> CONTENT-CHANGED</a:t>
                      </a:r>
                      <a:r>
                        <a:rPr lang="de-DE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Der Entwickler hat die Attribute einer Annotation verändert. Der Generator darf den Inhalt nicht mehr überschreiben.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FF5970D-318A-4820-AA96-8DB5043AAC88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B-</a:t>
            </a:r>
            <a:fld id="{21FBF85A-D7A6-488B-8C2B-F7E0D684392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5857622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Shape 2"/>
          <p:cNvSpPr txBox="1"/>
          <p:nvPr/>
        </p:nvSpPr>
        <p:spPr>
          <a:xfrm>
            <a:off x="934038" y="1714574"/>
            <a:ext cx="7281239" cy="4244958"/>
          </a:xfrm>
          <a:prstGeom prst="rect">
            <a:avLst/>
          </a:prstGeom>
        </p:spPr>
        <p:txBody>
          <a:bodyPr wrap="none" lIns="0" tIns="0" rIns="0" bIns="0"/>
          <a:lstStyle/>
          <a:p>
            <a:endParaRPr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298286E-66C5-4BB5-B4E9-FCB597AF30C7}" type="datetime1">
              <a:rPr lang="de-DE" smtClean="0"/>
              <a:t>14.04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III.B-</a:t>
            </a:r>
            <a:fld id="{21FBF85A-D7A6-488B-8C2B-F7E0D6843921}" type="slidenum">
              <a:rPr lang="de-DE" smtClean="0">
                <a:solidFill>
                  <a:srgbClr val="FFFFFF"/>
                </a:solidFill>
              </a:rPr>
              <a:pPr/>
              <a:t>9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B.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11348078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40</Words>
  <Application>Microsoft Office PowerPoint</Application>
  <PresentationFormat>Bildschirmpräsentation (4:3)</PresentationFormat>
  <Paragraphs>132</Paragraphs>
  <Slides>12</Slides>
  <Notes>2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3" baseType="lpstr">
      <vt:lpstr>Master - ConVista General </vt:lpstr>
      <vt:lpstr>Inhalt - Modellierung &amp; Produktdefinition</vt:lpstr>
      <vt:lpstr>Schulungsbeispiel: Hausratmodell (ohne Produktinformationen)</vt:lpstr>
      <vt:lpstr>Demo: Erste Klasse anlegen</vt:lpstr>
      <vt:lpstr>Übungen zu Kapitel III.B</vt:lpstr>
      <vt:lpstr>Modellierung von Attributen</vt:lpstr>
      <vt:lpstr>Demo</vt:lpstr>
      <vt:lpstr>Umgang mit generiertem Code</vt:lpstr>
      <vt:lpstr>Weitere Optionen </vt:lpstr>
      <vt:lpstr>Übungen zu Kapitel III.B.1</vt:lpstr>
      <vt:lpstr>Modellierung von Beziehungen</vt:lpstr>
      <vt:lpstr>Demo</vt:lpstr>
      <vt:lpstr>Übungen zu Kapitel III.B.2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Cornelius Dirmeier</cp:lastModifiedBy>
  <cp:revision>1634</cp:revision>
  <cp:lastPrinted>2012-11-19T11:42:38Z</cp:lastPrinted>
  <dcterms:created xsi:type="dcterms:W3CDTF">2005-03-22T09:36:15Z</dcterms:created>
  <dcterms:modified xsi:type="dcterms:W3CDTF">2015-04-14T20:45:11Z</dcterms:modified>
  <cp:category>Master</cp:category>
  <cp:contentStatus>RELEASED</cp:contentStatus>
</cp:coreProperties>
</file>